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D$2:$D$225</c:f>
              <c:numCache>
                <c:formatCode>#,##0</c:formatCode>
                <c:ptCount val="224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3</c:v>
                </c:pt>
                <c:pt idx="175">
                  <c:v>697</c:v>
                </c:pt>
                <c:pt idx="176">
                  <c:v>684</c:v>
                </c:pt>
                <c:pt idx="177">
                  <c:v>730</c:v>
                </c:pt>
                <c:pt idx="178">
                  <c:v>722</c:v>
                </c:pt>
                <c:pt idx="179">
                  <c:v>716</c:v>
                </c:pt>
                <c:pt idx="180">
                  <c:v>742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0</c:v>
                </c:pt>
                <c:pt idx="188">
                  <c:v>917</c:v>
                </c:pt>
                <c:pt idx="189">
                  <c:v>907</c:v>
                </c:pt>
                <c:pt idx="190">
                  <c:v>915</c:v>
                </c:pt>
                <c:pt idx="191">
                  <c:v>916</c:v>
                </c:pt>
                <c:pt idx="192">
                  <c:v>929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7</c:v>
                </c:pt>
                <c:pt idx="197">
                  <c:v>926</c:v>
                </c:pt>
                <c:pt idx="198">
                  <c:v>953</c:v>
                </c:pt>
                <c:pt idx="199">
                  <c:v>944</c:v>
                </c:pt>
                <c:pt idx="200">
                  <c:v>940</c:v>
                </c:pt>
                <c:pt idx="201">
                  <c:v>935</c:v>
                </c:pt>
                <c:pt idx="202">
                  <c:v>973</c:v>
                </c:pt>
                <c:pt idx="203">
                  <c:v>932</c:v>
                </c:pt>
                <c:pt idx="204">
                  <c:v>924</c:v>
                </c:pt>
                <c:pt idx="207">
                  <c:v>878</c:v>
                </c:pt>
                <c:pt idx="208">
                  <c:v>863</c:v>
                </c:pt>
                <c:pt idx="209">
                  <c:v>866</c:v>
                </c:pt>
                <c:pt idx="210">
                  <c:v>841</c:v>
                </c:pt>
                <c:pt idx="211">
                  <c:v>813</c:v>
                </c:pt>
                <c:pt idx="212">
                  <c:v>792</c:v>
                </c:pt>
                <c:pt idx="213">
                  <c:v>764</c:v>
                </c:pt>
                <c:pt idx="214">
                  <c:v>727</c:v>
                </c:pt>
                <c:pt idx="215">
                  <c:v>716</c:v>
                </c:pt>
                <c:pt idx="216">
                  <c:v>713</c:v>
                </c:pt>
                <c:pt idx="217">
                  <c:v>735</c:v>
                </c:pt>
                <c:pt idx="218">
                  <c:v>709</c:v>
                </c:pt>
                <c:pt idx="219">
                  <c:v>670</c:v>
                </c:pt>
                <c:pt idx="220">
                  <c:v>625</c:v>
                </c:pt>
                <c:pt idx="221">
                  <c:v>593</c:v>
                </c:pt>
                <c:pt idx="222">
                  <c:v>592</c:v>
                </c:pt>
                <c:pt idx="223">
                  <c:v>5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B$2:$B$225</c:f>
              <c:numCache>
                <c:formatCode>#,##0</c:formatCode>
                <c:ptCount val="224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C$2:$C$225</c:f>
              <c:numCache>
                <c:formatCode>#,##0</c:formatCode>
                <c:ptCount val="2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D$2:$D$225</c:f>
              <c:numCache>
                <c:formatCode>#,##0</c:formatCode>
                <c:ptCount val="224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1</c:v>
                </c:pt>
                <c:pt idx="159">
                  <c:v>2413</c:v>
                </c:pt>
                <c:pt idx="160">
                  <c:v>2476</c:v>
                </c:pt>
                <c:pt idx="161">
                  <c:v>2492</c:v>
                </c:pt>
                <c:pt idx="162">
                  <c:v>2421</c:v>
                </c:pt>
                <c:pt idx="163">
                  <c:v>2457</c:v>
                </c:pt>
                <c:pt idx="164">
                  <c:v>2410</c:v>
                </c:pt>
                <c:pt idx="165">
                  <c:v>2474</c:v>
                </c:pt>
                <c:pt idx="166">
                  <c:v>2592</c:v>
                </c:pt>
                <c:pt idx="167">
                  <c:v>2624</c:v>
                </c:pt>
                <c:pt idx="168">
                  <c:v>2656</c:v>
                </c:pt>
                <c:pt idx="169">
                  <c:v>2722</c:v>
                </c:pt>
                <c:pt idx="170">
                  <c:v>2763</c:v>
                </c:pt>
                <c:pt idx="171">
                  <c:v>2682</c:v>
                </c:pt>
                <c:pt idx="172">
                  <c:v>2688</c:v>
                </c:pt>
                <c:pt idx="173">
                  <c:v>2810</c:v>
                </c:pt>
                <c:pt idx="174">
                  <c:v>3003</c:v>
                </c:pt>
                <c:pt idx="175">
                  <c:v>3022</c:v>
                </c:pt>
                <c:pt idx="176">
                  <c:v>3034</c:v>
                </c:pt>
                <c:pt idx="177">
                  <c:v>3046</c:v>
                </c:pt>
                <c:pt idx="178">
                  <c:v>3132</c:v>
                </c:pt>
                <c:pt idx="179">
                  <c:v>3238</c:v>
                </c:pt>
                <c:pt idx="180">
                  <c:v>3380</c:v>
                </c:pt>
                <c:pt idx="181">
                  <c:v>3585</c:v>
                </c:pt>
                <c:pt idx="182">
                  <c:v>3629</c:v>
                </c:pt>
                <c:pt idx="183">
                  <c:v>3604</c:v>
                </c:pt>
                <c:pt idx="184">
                  <c:v>3686</c:v>
                </c:pt>
                <c:pt idx="185">
                  <c:v>3709</c:v>
                </c:pt>
                <c:pt idx="186">
                  <c:v>3791</c:v>
                </c:pt>
                <c:pt idx="187">
                  <c:v>3880</c:v>
                </c:pt>
                <c:pt idx="188">
                  <c:v>3929</c:v>
                </c:pt>
                <c:pt idx="189">
                  <c:v>3944</c:v>
                </c:pt>
                <c:pt idx="190">
                  <c:v>3956</c:v>
                </c:pt>
                <c:pt idx="191">
                  <c:v>3928</c:v>
                </c:pt>
                <c:pt idx="192">
                  <c:v>3863</c:v>
                </c:pt>
                <c:pt idx="193">
                  <c:v>3976</c:v>
                </c:pt>
                <c:pt idx="194">
                  <c:v>4044</c:v>
                </c:pt>
                <c:pt idx="195">
                  <c:v>4190</c:v>
                </c:pt>
                <c:pt idx="196">
                  <c:v>4105</c:v>
                </c:pt>
                <c:pt idx="197">
                  <c:v>4028</c:v>
                </c:pt>
                <c:pt idx="198">
                  <c:v>4001</c:v>
                </c:pt>
                <c:pt idx="199">
                  <c:v>3797</c:v>
                </c:pt>
                <c:pt idx="200">
                  <c:v>3726</c:v>
                </c:pt>
                <c:pt idx="201">
                  <c:v>3804</c:v>
                </c:pt>
                <c:pt idx="202">
                  <c:v>3824</c:v>
                </c:pt>
                <c:pt idx="203">
                  <c:v>3691</c:v>
                </c:pt>
                <c:pt idx="204">
                  <c:v>3547</c:v>
                </c:pt>
                <c:pt idx="207">
                  <c:v>3359</c:v>
                </c:pt>
                <c:pt idx="208">
                  <c:v>3390</c:v>
                </c:pt>
                <c:pt idx="209">
                  <c:v>3359</c:v>
                </c:pt>
                <c:pt idx="210">
                  <c:v>3277</c:v>
                </c:pt>
                <c:pt idx="211">
                  <c:v>3147</c:v>
                </c:pt>
                <c:pt idx="212">
                  <c:v>2998</c:v>
                </c:pt>
                <c:pt idx="213">
                  <c:v>2810</c:v>
                </c:pt>
                <c:pt idx="214">
                  <c:v>2766</c:v>
                </c:pt>
                <c:pt idx="215">
                  <c:v>2828</c:v>
                </c:pt>
                <c:pt idx="216">
                  <c:v>2843</c:v>
                </c:pt>
                <c:pt idx="217">
                  <c:v>3045</c:v>
                </c:pt>
                <c:pt idx="218">
                  <c:v>2867</c:v>
                </c:pt>
                <c:pt idx="219">
                  <c:v>2690</c:v>
                </c:pt>
                <c:pt idx="220">
                  <c:v>2412</c:v>
                </c:pt>
                <c:pt idx="221">
                  <c:v>2303</c:v>
                </c:pt>
                <c:pt idx="222">
                  <c:v>2322</c:v>
                </c:pt>
                <c:pt idx="223">
                  <c:v>2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3"/>
              <c:layout>
                <c:manualLayout>
                  <c:x val="-8.4504880832907154E-8"/>
                  <c:y val="-2.69434272888123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B$2:$B$225</c:f>
              <c:numCache>
                <c:formatCode>#,##0</c:formatCode>
                <c:ptCount val="224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C$2:$C$225</c:f>
              <c:numCache>
                <c:formatCode>#,##0</c:formatCode>
                <c:ptCount val="2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D$2:$D$225</c:f>
              <c:numCache>
                <c:formatCode>#,##0</c:formatCode>
                <c:ptCount val="224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7</c:v>
                </c:pt>
                <c:pt idx="166">
                  <c:v>1148</c:v>
                </c:pt>
                <c:pt idx="167">
                  <c:v>1172</c:v>
                </c:pt>
                <c:pt idx="168">
                  <c:v>1216</c:v>
                </c:pt>
                <c:pt idx="169">
                  <c:v>1244</c:v>
                </c:pt>
                <c:pt idx="170">
                  <c:v>1269</c:v>
                </c:pt>
                <c:pt idx="171">
                  <c:v>1272</c:v>
                </c:pt>
                <c:pt idx="172">
                  <c:v>1272</c:v>
                </c:pt>
                <c:pt idx="173">
                  <c:v>1284</c:v>
                </c:pt>
                <c:pt idx="174">
                  <c:v>1366</c:v>
                </c:pt>
                <c:pt idx="175">
                  <c:v>1395</c:v>
                </c:pt>
                <c:pt idx="176">
                  <c:v>1412</c:v>
                </c:pt>
                <c:pt idx="177">
                  <c:v>1465</c:v>
                </c:pt>
                <c:pt idx="178">
                  <c:v>1441</c:v>
                </c:pt>
                <c:pt idx="179">
                  <c:v>1468</c:v>
                </c:pt>
                <c:pt idx="180">
                  <c:v>1505</c:v>
                </c:pt>
                <c:pt idx="181">
                  <c:v>1588</c:v>
                </c:pt>
                <c:pt idx="182">
                  <c:v>1600</c:v>
                </c:pt>
                <c:pt idx="183">
                  <c:v>1626</c:v>
                </c:pt>
                <c:pt idx="184">
                  <c:v>1651</c:v>
                </c:pt>
                <c:pt idx="185">
                  <c:v>1671</c:v>
                </c:pt>
                <c:pt idx="186">
                  <c:v>1674</c:v>
                </c:pt>
                <c:pt idx="187">
                  <c:v>1678</c:v>
                </c:pt>
                <c:pt idx="188">
                  <c:v>1772</c:v>
                </c:pt>
                <c:pt idx="189">
                  <c:v>1801</c:v>
                </c:pt>
                <c:pt idx="190">
                  <c:v>1831</c:v>
                </c:pt>
                <c:pt idx="191">
                  <c:v>1820</c:v>
                </c:pt>
                <c:pt idx="192">
                  <c:v>1834</c:v>
                </c:pt>
                <c:pt idx="193">
                  <c:v>1783</c:v>
                </c:pt>
                <c:pt idx="194">
                  <c:v>1830</c:v>
                </c:pt>
                <c:pt idx="195">
                  <c:v>1888</c:v>
                </c:pt>
                <c:pt idx="196">
                  <c:v>1894</c:v>
                </c:pt>
                <c:pt idx="197">
                  <c:v>1862</c:v>
                </c:pt>
                <c:pt idx="198">
                  <c:v>1862</c:v>
                </c:pt>
                <c:pt idx="199">
                  <c:v>1821</c:v>
                </c:pt>
                <c:pt idx="200">
                  <c:v>1783</c:v>
                </c:pt>
                <c:pt idx="201">
                  <c:v>1807</c:v>
                </c:pt>
                <c:pt idx="202">
                  <c:v>1825</c:v>
                </c:pt>
                <c:pt idx="203">
                  <c:v>1780</c:v>
                </c:pt>
                <c:pt idx="204">
                  <c:v>1748</c:v>
                </c:pt>
                <c:pt idx="207">
                  <c:v>1652</c:v>
                </c:pt>
                <c:pt idx="208">
                  <c:v>1660</c:v>
                </c:pt>
                <c:pt idx="209">
                  <c:v>1667</c:v>
                </c:pt>
                <c:pt idx="210">
                  <c:v>1619</c:v>
                </c:pt>
                <c:pt idx="211">
                  <c:v>1561</c:v>
                </c:pt>
                <c:pt idx="212">
                  <c:v>1516</c:v>
                </c:pt>
                <c:pt idx="213">
                  <c:v>1431</c:v>
                </c:pt>
                <c:pt idx="214">
                  <c:v>1405</c:v>
                </c:pt>
                <c:pt idx="215">
                  <c:v>1385</c:v>
                </c:pt>
                <c:pt idx="216">
                  <c:v>1356</c:v>
                </c:pt>
                <c:pt idx="217">
                  <c:v>1407</c:v>
                </c:pt>
                <c:pt idx="218">
                  <c:v>1383</c:v>
                </c:pt>
                <c:pt idx="219">
                  <c:v>1328</c:v>
                </c:pt>
                <c:pt idx="220">
                  <c:v>1244</c:v>
                </c:pt>
                <c:pt idx="221">
                  <c:v>1217</c:v>
                </c:pt>
                <c:pt idx="222">
                  <c:v>1197</c:v>
                </c:pt>
                <c:pt idx="223">
                  <c:v>1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4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9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2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B$2:$B$225</c:f>
              <c:numCache>
                <c:formatCode>#,##0</c:formatCode>
                <c:ptCount val="224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C$2:$C$225</c:f>
              <c:numCache>
                <c:formatCode>#,##0</c:formatCode>
                <c:ptCount val="2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D$2:$D$225</c:f>
              <c:numCache>
                <c:formatCode>#,##0</c:formatCode>
                <c:ptCount val="22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6</c:v>
                </c:pt>
                <c:pt idx="213">
                  <c:v>30</c:v>
                </c:pt>
                <c:pt idx="214">
                  <c:v>30</c:v>
                </c:pt>
                <c:pt idx="215">
                  <c:v>32</c:v>
                </c:pt>
                <c:pt idx="216">
                  <c:v>30</c:v>
                </c:pt>
                <c:pt idx="217">
                  <c:v>27</c:v>
                </c:pt>
                <c:pt idx="218">
                  <c:v>24</c:v>
                </c:pt>
                <c:pt idx="219">
                  <c:v>23</c:v>
                </c:pt>
                <c:pt idx="220">
                  <c:v>23</c:v>
                </c:pt>
                <c:pt idx="221">
                  <c:v>21</c:v>
                </c:pt>
                <c:pt idx="222">
                  <c:v>19</c:v>
                </c:pt>
                <c:pt idx="22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B$2:$B$225</c:f>
              <c:numCache>
                <c:formatCode>#,##0</c:formatCode>
                <c:ptCount val="224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5</c:f>
              <c:numCache>
                <c:formatCode>m/d/yyyy</c:formatCode>
                <c:ptCount val="22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</c:numCache>
            </c:numRef>
          </c:cat>
          <c:val>
            <c:numRef>
              <c:f>Sheet1!$C$2:$C$225</c:f>
              <c:numCache>
                <c:formatCode>#,##0</c:formatCode>
                <c:ptCount val="22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13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837515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2333334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09108334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65102027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666847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7433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79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592</cp:revision>
  <dcterms:created xsi:type="dcterms:W3CDTF">2020-08-08T14:25:07Z</dcterms:created>
  <dcterms:modified xsi:type="dcterms:W3CDTF">2021-04-13T03:17:39Z</dcterms:modified>
</cp:coreProperties>
</file>